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5"/>
  </p:notesMasterIdLst>
  <p:handoutMasterIdLst>
    <p:handoutMasterId r:id="rId36"/>
  </p:handoutMasterIdLst>
  <p:sldIdLst>
    <p:sldId id="407" r:id="rId4"/>
    <p:sldId id="512" r:id="rId5"/>
    <p:sldId id="576" r:id="rId6"/>
    <p:sldId id="579" r:id="rId7"/>
    <p:sldId id="595" r:id="rId8"/>
    <p:sldId id="608" r:id="rId9"/>
    <p:sldId id="609" r:id="rId10"/>
    <p:sldId id="610" r:id="rId11"/>
    <p:sldId id="612" r:id="rId12"/>
    <p:sldId id="580" r:id="rId13"/>
    <p:sldId id="581" r:id="rId14"/>
    <p:sldId id="584" r:id="rId15"/>
    <p:sldId id="596" r:id="rId16"/>
    <p:sldId id="597" r:id="rId17"/>
    <p:sldId id="598" r:id="rId18"/>
    <p:sldId id="599" r:id="rId19"/>
    <p:sldId id="600" r:id="rId20"/>
    <p:sldId id="601" r:id="rId21"/>
    <p:sldId id="602" r:id="rId22"/>
    <p:sldId id="603" r:id="rId23"/>
    <p:sldId id="604" r:id="rId24"/>
    <p:sldId id="605" r:id="rId25"/>
    <p:sldId id="606" r:id="rId26"/>
    <p:sldId id="607" r:id="rId27"/>
    <p:sldId id="613" r:id="rId28"/>
    <p:sldId id="615" r:id="rId29"/>
    <p:sldId id="614" r:id="rId30"/>
    <p:sldId id="616" r:id="rId31"/>
    <p:sldId id="458" r:id="rId32"/>
    <p:sldId id="594" r:id="rId33"/>
    <p:sldId id="329" r:id="rId34"/>
  </p:sldIdLst>
  <p:sldSz cx="9906000" cy="6858000" type="A4"/>
  <p:notesSz cx="6797675" cy="9874250"/>
  <p:custDataLst>
    <p:tags r:id="rId3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08" autoAdjust="0"/>
    <p:restoredTop sz="94576" autoAdjust="0"/>
  </p:normalViewPr>
  <p:slideViewPr>
    <p:cSldViewPr>
      <p:cViewPr>
        <p:scale>
          <a:sx n="75" d="100"/>
          <a:sy n="75" d="100"/>
        </p:scale>
        <p:origin x="-1146" y="-72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outlineViewPr>
    <p:cViewPr>
      <p:scale>
        <a:sx n="33" d="100"/>
        <a:sy n="33" d="100"/>
      </p:scale>
      <p:origin x="12" y="896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162"/>
    </p:cViewPr>
  </p:sorterViewPr>
  <p:notesViewPr>
    <p:cSldViewPr>
      <p:cViewPr varScale="1">
        <p:scale>
          <a:sx n="52" d="100"/>
          <a:sy n="52" d="100"/>
        </p:scale>
        <p:origin x="-2592" y="-84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5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9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0" y="836712"/>
            <a:ext cx="4680520" cy="54726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72480" y="836712"/>
            <a:ext cx="4680520" cy="54726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920560" y="6327775"/>
            <a:ext cx="713713" cy="47625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28C05B1C-C01C-4028-B5E8-1C87DF19B73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ußzeilenplatzhalter 9"/>
          <p:cNvSpPr>
            <a:spLocks noGrp="1"/>
          </p:cNvSpPr>
          <p:nvPr>
            <p:ph type="ftr" sz="quarter" idx="15"/>
          </p:nvPr>
        </p:nvSpPr>
        <p:spPr>
          <a:xfrm>
            <a:off x="271728" y="6327775"/>
            <a:ext cx="858176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is work was partially supported by the SCAPE Project.</a:t>
            </a:r>
          </a:p>
          <a:p>
            <a:pPr>
              <a:defRPr/>
            </a:pPr>
            <a:r>
              <a:rPr lang="en-US"/>
              <a:t>The SCAPE project is co‐funded by the European Union under FP7 ICT‐2009.4.1 (Grant Agreement number 270137).</a:t>
            </a:r>
            <a:endParaRPr lang="en-US" i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9.png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7.png"/><Relationship Id="rId25" Type="http://schemas.openxmlformats.org/officeDocument/2006/relationships/image" Target="../media/image11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0.png"/><Relationship Id="rId10" Type="http://schemas.openxmlformats.org/officeDocument/2006/relationships/tags" Target="../tags/tag39.xml"/><Relationship Id="rId19" Type="http://schemas.openxmlformats.org/officeDocument/2006/relationships/image" Target="../media/image8.png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Hadoop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20" r:id="rId11"/>
  </p:sldLayoutIdLst>
  <p:transition/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ransition/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ransition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MAP REDUCE  – </a:t>
            </a:r>
            <a:r>
              <a:rPr lang="fr-FR" sz="2400" b="1" smtClean="0"/>
              <a:t>Module </a:t>
            </a:r>
            <a:r>
              <a:rPr lang="fr-FR" sz="2400" b="1" smtClean="0"/>
              <a:t>04</a:t>
            </a:r>
            <a:endParaRPr lang="fr-FR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149" y="5410200"/>
            <a:ext cx="5861051" cy="38100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BIG-04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Reduce(continued) </a:t>
            </a:r>
            <a:endParaRPr lang="de-AT" altLang="en-US" dirty="0" smtClean="0"/>
          </a:p>
        </p:txBody>
      </p:sp>
      <p:pic>
        <p:nvPicPr>
          <p:cNvPr id="7270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723900"/>
            <a:ext cx="8696325" cy="520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Map Reduce Functions</a:t>
            </a:r>
            <a:endParaRPr lang="de-AT" altLang="en-US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Map Function: </a:t>
            </a: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r>
              <a:rPr lang="en-US" dirty="0" smtClean="0"/>
              <a:t>		         Input			     Output</a:t>
            </a: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Reduce Function:</a:t>
            </a:r>
          </a:p>
          <a:p>
            <a:pPr lvl="1">
              <a:buFont typeface="Wingdings" pitchFamily="2" charset="2"/>
              <a:buChar char="§"/>
            </a:pPr>
            <a:endParaRPr lang="en-US" dirty="0" smtClean="0"/>
          </a:p>
          <a:p>
            <a:pPr lvl="4"/>
            <a:r>
              <a:rPr lang="en-US" dirty="0" smtClean="0"/>
              <a:t>Input			      Output</a:t>
            </a: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475993" y="3236640"/>
            <a:ext cx="251992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1295400" y="3048000"/>
            <a:ext cx="1905000" cy="6096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(K1,V1)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4724400" y="3048000"/>
            <a:ext cx="1905000" cy="6096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(K2,V2)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1295400" y="5181600"/>
            <a:ext cx="1905000" cy="6096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(K2, list(V2))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4800600" y="5181600"/>
            <a:ext cx="1905000" cy="6096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(K3,V3)</a:t>
            </a:r>
          </a:p>
        </p:txBody>
      </p:sp>
      <p:cxnSp>
        <p:nvCxnSpPr>
          <p:cNvPr id="11" name="Straight Arrow Connector 10"/>
          <p:cNvCxnSpPr>
            <a:stCxn id="6" idx="3"/>
            <a:endCxn id="7" idx="1"/>
          </p:cNvCxnSpPr>
          <p:nvPr/>
        </p:nvCxnSpPr>
        <p:spPr bwMode="auto">
          <a:xfrm>
            <a:off x="3200400" y="3352800"/>
            <a:ext cx="1524000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8" idx="3"/>
          </p:cNvCxnSpPr>
          <p:nvPr/>
        </p:nvCxnSpPr>
        <p:spPr bwMode="auto">
          <a:xfrm>
            <a:off x="3200400" y="5486400"/>
            <a:ext cx="1600200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 bwMode="auto">
          <a:xfrm rot="10800000" flipV="1">
            <a:off x="2438400" y="3657600"/>
            <a:ext cx="3048000" cy="144780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Map Reduce in Hadoop-1</a:t>
            </a:r>
            <a:endParaRPr lang="de-AT" altLang="en-US" dirty="0" smtClean="0"/>
          </a:p>
        </p:txBody>
      </p:sp>
      <p:pic>
        <p:nvPicPr>
          <p:cNvPr id="72499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5800" y="1295400"/>
            <a:ext cx="8534400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Map Reduce in Hadoop-2</a:t>
            </a:r>
            <a:endParaRPr lang="de-AT" altLang="en-US" dirty="0" smtClean="0"/>
          </a:p>
        </p:txBody>
      </p:sp>
      <p:pic>
        <p:nvPicPr>
          <p:cNvPr id="7976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7201" y="1371600"/>
            <a:ext cx="84582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Map Reduce in Hadoop-3</a:t>
            </a:r>
            <a:endParaRPr lang="de-AT" altLang="en-US" dirty="0" smtClean="0"/>
          </a:p>
        </p:txBody>
      </p:sp>
      <p:pic>
        <p:nvPicPr>
          <p:cNvPr id="7987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600" y="1371600"/>
            <a:ext cx="83820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Word Count Execution</a:t>
            </a:r>
            <a:endParaRPr lang="de-AT" altLang="en-US" dirty="0" smtClean="0"/>
          </a:p>
        </p:txBody>
      </p:sp>
      <p:pic>
        <p:nvPicPr>
          <p:cNvPr id="7997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3413" y="1100138"/>
            <a:ext cx="863917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Word Count Execution</a:t>
            </a:r>
            <a:endParaRPr lang="de-AT" altLang="en-US" dirty="0" smtClean="0"/>
          </a:p>
        </p:txBody>
      </p:sp>
      <p:pic>
        <p:nvPicPr>
          <p:cNvPr id="7997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3413" y="1100138"/>
            <a:ext cx="863917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Optimization: The Combiner </a:t>
            </a:r>
            <a:endParaRPr lang="de-AT" alt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combiner is a local aggregation function for repeated keys produced by same map </a:t>
            </a:r>
          </a:p>
          <a:p>
            <a:endParaRPr lang="en-US" dirty="0" smtClean="0"/>
          </a:p>
          <a:p>
            <a:r>
              <a:rPr lang="en-US" dirty="0" smtClean="0"/>
              <a:t>For associative ops. like sum, count, max </a:t>
            </a:r>
          </a:p>
          <a:p>
            <a:endParaRPr lang="en-US" dirty="0" smtClean="0"/>
          </a:p>
          <a:p>
            <a:r>
              <a:rPr lang="en-US" dirty="0" smtClean="0"/>
              <a:t>Decreases size of intermediate data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d Count with Combiner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07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1988" y="1133475"/>
            <a:ext cx="8582025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ponents in a Hadoop MR Workflow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17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1219200"/>
            <a:ext cx="8915400" cy="4948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outlin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41312" y="1255713"/>
            <a:ext cx="9031287" cy="4916487"/>
          </a:xfrm>
        </p:spPr>
        <p:txBody>
          <a:bodyPr/>
          <a:lstStyle/>
          <a:p>
            <a:r>
              <a:rPr lang="en-US" altLang="en-US" dirty="0" smtClean="0"/>
              <a:t>What is Map Reduce</a:t>
            </a:r>
          </a:p>
          <a:p>
            <a:r>
              <a:rPr lang="en-US" altLang="en-US" dirty="0" smtClean="0"/>
              <a:t>Input Splits</a:t>
            </a:r>
          </a:p>
          <a:p>
            <a:r>
              <a:rPr lang="en-US" altLang="en-US" dirty="0" smtClean="0"/>
              <a:t>Map Reduce Job Submission</a:t>
            </a:r>
          </a:p>
          <a:p>
            <a:r>
              <a:rPr lang="en-US" altLang="en-US" dirty="0" smtClean="0"/>
              <a:t>Map Reduce Functions</a:t>
            </a:r>
          </a:p>
          <a:p>
            <a:r>
              <a:rPr lang="en-US" altLang="en-US" dirty="0" smtClean="0"/>
              <a:t>Map Reduce in Hadoop</a:t>
            </a:r>
          </a:p>
          <a:p>
            <a:r>
              <a:rPr lang="en-US" altLang="en-US" dirty="0" smtClean="0"/>
              <a:t>Word Count Execution</a:t>
            </a:r>
          </a:p>
          <a:p>
            <a:r>
              <a:rPr lang="en-US" dirty="0" smtClean="0"/>
              <a:t>Components in a Hadoop MR Workflow </a:t>
            </a:r>
          </a:p>
          <a:p>
            <a:r>
              <a:rPr lang="en-US" altLang="en-US" dirty="0" smtClean="0"/>
              <a:t>Q &amp; 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000484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ob Submission 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28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9588" y="1295400"/>
            <a:ext cx="8886825" cy="488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cheduling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384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57238" y="1219200"/>
            <a:ext cx="8391525" cy="491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ecution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48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1025" y="1219199"/>
            <a:ext cx="8743950" cy="494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duce Tasks 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58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4363" y="1219200"/>
            <a:ext cx="8677275" cy="491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ecution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 </a:t>
            </a:r>
            <a:br>
              <a:rPr lang="en-US" dirty="0" smtClean="0"/>
            </a:br>
            <a:endParaRPr lang="de-AT" altLang="en-US" dirty="0" smtClean="0"/>
          </a:p>
        </p:txBody>
      </p:sp>
      <p:pic>
        <p:nvPicPr>
          <p:cNvPr id="8048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1025" y="1219199"/>
            <a:ext cx="8743950" cy="494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Input to Map Reduce is in the form of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List of value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Array of value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Key-Value pair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Input splits are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Logical division of data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hysical division of data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Both A &amp; B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-Answers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Input to Map Reduce is in the form of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List of value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Array of value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Key-Value pair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Input splits are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Logical division of data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hysical division of data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Both A &amp; B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: Key-Value Pair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1148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A: Logical division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3</a:t>
            </a:r>
            <a:r>
              <a:rPr lang="en-US" dirty="0" smtClean="0"/>
              <a:t>. Combiners are also called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ini </a:t>
            </a:r>
            <a:r>
              <a:rPr lang="en-US" dirty="0" err="1" smtClean="0"/>
              <a:t>mappers</a:t>
            </a:r>
            <a:endParaRPr lang="en-US" dirty="0" smtClean="0"/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ini reducer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ap phas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Key-Value pair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4</a:t>
            </a:r>
            <a:r>
              <a:rPr lang="en-US" dirty="0" smtClean="0"/>
              <a:t>. True or False? </a:t>
            </a:r>
            <a:r>
              <a:rPr lang="en-US" dirty="0" err="1" smtClean="0"/>
              <a:t>MapReduce</a:t>
            </a:r>
            <a:r>
              <a:rPr lang="en-US" dirty="0" smtClean="0"/>
              <a:t> can best be described as a programming model used to develop Hadoop-based applications that can process massive amounts of unstructured data. 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-Answers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3</a:t>
            </a:r>
            <a:r>
              <a:rPr lang="en-US" dirty="0" smtClean="0"/>
              <a:t>. Combiners are also called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ini </a:t>
            </a:r>
            <a:r>
              <a:rPr lang="en-US" dirty="0" err="1" smtClean="0"/>
              <a:t>mappers</a:t>
            </a:r>
            <a:endParaRPr lang="en-US" dirty="0" smtClean="0"/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ini reducers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Map phas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Key-Value pair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4</a:t>
            </a:r>
            <a:r>
              <a:rPr lang="en-US" dirty="0" smtClean="0"/>
              <a:t>. True or False? </a:t>
            </a:r>
            <a:r>
              <a:rPr lang="en-US" dirty="0" err="1" smtClean="0"/>
              <a:t>MapReduce</a:t>
            </a:r>
            <a:r>
              <a:rPr lang="en-US" dirty="0" smtClean="0"/>
              <a:t> can best be described as a programming model used to develop Hadoop-based applications that can process massive amounts of unstructured data. 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B: Mini Reducers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5720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A: True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at is Map Reduce</a:t>
            </a:r>
            <a:endParaRPr lang="de-AT" altLang="en-US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1312" y="1295400"/>
            <a:ext cx="6440488" cy="4972049"/>
          </a:xfrm>
        </p:spPr>
        <p:txBody>
          <a:bodyPr/>
          <a:lstStyle/>
          <a:p>
            <a:r>
              <a:rPr lang="en-US" dirty="0" smtClean="0"/>
              <a:t>Programming model for data processing for clusters of commodity machines </a:t>
            </a:r>
          </a:p>
          <a:p>
            <a:endParaRPr lang="en-US" dirty="0" smtClean="0"/>
          </a:p>
          <a:p>
            <a:r>
              <a:rPr lang="en-US" dirty="0" smtClean="0"/>
              <a:t>Pioneered by Google </a:t>
            </a:r>
          </a:p>
          <a:p>
            <a:pPr lvl="1"/>
            <a:r>
              <a:rPr lang="en-US" dirty="0" smtClean="0"/>
              <a:t>Processes 20 PB of data per day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Popularized by open-source Hadoop project 	</a:t>
            </a:r>
          </a:p>
          <a:p>
            <a:pPr lvl="1"/>
            <a:r>
              <a:rPr lang="en-US" dirty="0" smtClean="0"/>
              <a:t>Used by Yahoo, </a:t>
            </a:r>
            <a:r>
              <a:rPr lang="en-US" dirty="0" err="1" smtClean="0"/>
              <a:t>Facebook</a:t>
            </a:r>
            <a:r>
              <a:rPr lang="en-US" dirty="0" smtClean="0"/>
              <a:t>, Amazon etc</a:t>
            </a:r>
          </a:p>
          <a:p>
            <a:pPr>
              <a:buNone/>
            </a:pPr>
            <a:endParaRPr lang="en-US" dirty="0" smtClean="0"/>
          </a:p>
          <a:p>
            <a:r>
              <a:rPr lang="en-US" dirty="0" smtClean="0"/>
              <a:t>Simple Implementation model </a:t>
            </a:r>
          </a:p>
          <a:p>
            <a:pPr lvl="1"/>
            <a:r>
              <a:rPr lang="en-US" dirty="0" smtClean="0"/>
              <a:t>Implementation can be done in Java, ruby, python, C++ etc. </a:t>
            </a:r>
          </a:p>
          <a:p>
            <a:pPr lvl="1"/>
            <a:r>
              <a:rPr lang="en-US" dirty="0" smtClean="0"/>
              <a:t>No need to worry about shipment, rack, distribution, JVM etc. </a:t>
            </a:r>
          </a:p>
          <a:p>
            <a:pPr lvl="1"/>
            <a:endParaRPr lang="en-US" dirty="0" smtClean="0"/>
          </a:p>
        </p:txBody>
      </p:sp>
      <p:pic>
        <p:nvPicPr>
          <p:cNvPr id="729089" name="Picture 1"/>
          <p:cNvPicPr>
            <a:picLocks noGrp="1" noChangeAspect="1" noChangeArrowheads="1"/>
          </p:cNvPicPr>
          <p:nvPr>
            <p:ph sz="quarter" idx="1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6248400" y="2133600"/>
            <a:ext cx="31813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Thank</a:t>
            </a:r>
            <a:r>
              <a:rPr kumimoji="0" lang="en-US" sz="6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You</a:t>
            </a:r>
            <a:endParaRPr kumimoji="0" lang="en-US" sz="6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Reduce(continued)</a:t>
            </a:r>
            <a:endParaRPr lang="en-GB" altLang="en-US" b="1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"Map" step:</a:t>
            </a:r>
          </a:p>
          <a:p>
            <a:pPr lvl="1"/>
            <a:r>
              <a:rPr lang="en-US" dirty="0" smtClean="0"/>
              <a:t>Is just a data preparation step</a:t>
            </a:r>
          </a:p>
          <a:p>
            <a:pPr lvl="1"/>
            <a:r>
              <a:rPr lang="en-US" dirty="0" smtClean="0"/>
              <a:t>Program split into pieces  </a:t>
            </a:r>
          </a:p>
          <a:p>
            <a:pPr lvl="1"/>
            <a:r>
              <a:rPr lang="en-US" dirty="0" smtClean="0"/>
              <a:t>Worker(Slave) nodes process individual pieces in parallel (under global control of the Job Tracker node) </a:t>
            </a:r>
          </a:p>
          <a:p>
            <a:pPr lvl="1"/>
            <a:r>
              <a:rPr lang="en-US" dirty="0" smtClean="0"/>
              <a:t>Each worker node stores its result in its local file system where a reducer is able to access it </a:t>
            </a:r>
          </a:p>
          <a:p>
            <a:pPr lvl="1">
              <a:buNone/>
            </a:pPr>
            <a:endParaRPr lang="en-US" dirty="0" smtClean="0"/>
          </a:p>
          <a:p>
            <a:r>
              <a:rPr lang="en-US" dirty="0" smtClean="0"/>
              <a:t>"Reduce" step: </a:t>
            </a:r>
          </a:p>
          <a:p>
            <a:pPr lvl="1"/>
            <a:r>
              <a:rPr lang="en-US" dirty="0" smtClean="0"/>
              <a:t>Data is aggregated (‘reduced” from the map steps) by worker nodes (under control of the Job Tracker) </a:t>
            </a:r>
          </a:p>
          <a:p>
            <a:pPr lvl="1"/>
            <a:r>
              <a:rPr lang="en-US" dirty="0" smtClean="0"/>
              <a:t>Multiple reduce tasks can parallelize the aggregation </a:t>
            </a:r>
          </a:p>
          <a:p>
            <a:pPr lvl="1"/>
            <a:r>
              <a:rPr lang="en-US" dirty="0" smtClean="0"/>
              <a:t>Aggregation logic is applied in this phase</a:t>
            </a:r>
          </a:p>
          <a:p>
            <a:pPr lvl="1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Reduce(continued)</a:t>
            </a:r>
            <a:endParaRPr lang="en-GB" altLang="en-US" b="1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put to </a:t>
            </a:r>
            <a:r>
              <a:rPr lang="en-US" dirty="0" err="1" smtClean="0"/>
              <a:t>Mapper</a:t>
            </a:r>
            <a:r>
              <a:rPr lang="en-US" dirty="0" smtClean="0"/>
              <a:t> (map phase) is always an input split.</a:t>
            </a:r>
          </a:p>
          <a:p>
            <a:endParaRPr lang="en-US" dirty="0" smtClean="0"/>
          </a:p>
          <a:p>
            <a:r>
              <a:rPr lang="en-US" dirty="0" smtClean="0"/>
              <a:t>An input split is a logical division of data.</a:t>
            </a:r>
          </a:p>
          <a:p>
            <a:endParaRPr lang="en-US" dirty="0" smtClean="0"/>
          </a:p>
          <a:p>
            <a:r>
              <a:rPr lang="en-US" dirty="0" smtClean="0"/>
              <a:t>Input and output of map reduce is always a Key-Value pair.</a:t>
            </a:r>
          </a:p>
          <a:p>
            <a:endParaRPr lang="en-US" dirty="0" smtClean="0"/>
          </a:p>
          <a:p>
            <a:r>
              <a:rPr lang="en-US" dirty="0" err="1" smtClean="0"/>
              <a:t>Mapper</a:t>
            </a:r>
            <a:r>
              <a:rPr lang="en-US" dirty="0" smtClean="0"/>
              <a:t> is just a data preparation phase.</a:t>
            </a:r>
          </a:p>
          <a:p>
            <a:endParaRPr lang="en-US" dirty="0" smtClean="0"/>
          </a:p>
          <a:p>
            <a:r>
              <a:rPr lang="en-US" dirty="0" smtClean="0"/>
              <a:t>Actual aggregation logic is applied in Reducer phase.</a:t>
            </a:r>
          </a:p>
          <a:p>
            <a:endParaRPr lang="en-US" dirty="0" smtClean="0"/>
          </a:p>
          <a:p>
            <a:r>
              <a:rPr lang="en-US" dirty="0" smtClean="0"/>
              <a:t>Merge and sort is done by framework after map phase.</a:t>
            </a:r>
          </a:p>
          <a:p>
            <a:pPr lvl="1">
              <a:buNone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put Splits</a:t>
            </a:r>
            <a:endParaRPr lang="en-GB" altLang="en-US" b="1" dirty="0" smtClean="0"/>
          </a:p>
        </p:txBody>
      </p:sp>
      <p:pic>
        <p:nvPicPr>
          <p:cNvPr id="8069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41313" y="1524000"/>
            <a:ext cx="9223375" cy="3457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 between blocks and input splits</a:t>
            </a:r>
            <a:endParaRPr lang="en-GB" altLang="en-US" b="1" dirty="0" smtClean="0"/>
          </a:p>
        </p:txBody>
      </p:sp>
      <p:pic>
        <p:nvPicPr>
          <p:cNvPr id="8079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41313" y="1828800"/>
            <a:ext cx="9223375" cy="3613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Reduce Job Submission</a:t>
            </a:r>
            <a:endParaRPr lang="en-GB" altLang="en-US" b="1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Each Map task works on a split data</a:t>
            </a:r>
          </a:p>
          <a:p>
            <a:endParaRPr lang="en-US" dirty="0" smtClean="0"/>
          </a:p>
          <a:p>
            <a:r>
              <a:rPr lang="en-US" dirty="0" err="1" smtClean="0"/>
              <a:t>Mapper</a:t>
            </a:r>
            <a:r>
              <a:rPr lang="en-US" dirty="0" smtClean="0"/>
              <a:t> outputs intermediate data</a:t>
            </a:r>
          </a:p>
          <a:p>
            <a:endParaRPr lang="en-US" dirty="0" smtClean="0"/>
          </a:p>
          <a:p>
            <a:r>
              <a:rPr lang="en-US" dirty="0" smtClean="0"/>
              <a:t>Sort and merge is performed based on key</a:t>
            </a:r>
          </a:p>
          <a:p>
            <a:endParaRPr lang="en-US" dirty="0" smtClean="0"/>
          </a:p>
          <a:p>
            <a:r>
              <a:rPr lang="en-US" dirty="0" smtClean="0"/>
              <a:t>Reducer output is stored in different nodes</a:t>
            </a:r>
          </a:p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089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57800" y="1295400"/>
            <a:ext cx="4419600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Reduce(continued)</a:t>
            </a:r>
            <a:endParaRPr lang="en-US" dirty="0"/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43394" y="1487489"/>
            <a:ext cx="2106744" cy="163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713831" y="1785939"/>
            <a:ext cx="2497138" cy="1512887"/>
          </a:xfrm>
          <a:prstGeom prst="rect">
            <a:avLst/>
          </a:prstGeom>
          <a:solidFill>
            <a:srgbClr val="C5E2EE"/>
          </a:solidFill>
          <a:ln w="25560">
            <a:solidFill>
              <a:srgbClr val="90A6A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altLang="en-US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713831" y="3289300"/>
            <a:ext cx="2497138" cy="1511300"/>
          </a:xfrm>
          <a:prstGeom prst="rect">
            <a:avLst/>
          </a:prstGeom>
          <a:solidFill>
            <a:srgbClr val="C5E2EE"/>
          </a:solidFill>
          <a:ln w="25560">
            <a:solidFill>
              <a:srgbClr val="90A6A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altLang="en-US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2713831" y="4810125"/>
            <a:ext cx="2497138" cy="1512888"/>
          </a:xfrm>
          <a:prstGeom prst="rect">
            <a:avLst/>
          </a:prstGeom>
          <a:solidFill>
            <a:srgbClr val="C5E2EE"/>
          </a:solidFill>
          <a:ln w="25560">
            <a:solidFill>
              <a:srgbClr val="90A6A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altLang="en-US"/>
          </a:p>
        </p:txBody>
      </p:sp>
      <p:grpSp>
        <p:nvGrpSpPr>
          <p:cNvPr id="3" name="Group 5"/>
          <p:cNvGrpSpPr>
            <a:grpSpLocks/>
          </p:cNvGrpSpPr>
          <p:nvPr/>
        </p:nvGrpSpPr>
        <p:grpSpPr bwMode="auto">
          <a:xfrm>
            <a:off x="609600" y="1828800"/>
            <a:ext cx="5451740" cy="4433887"/>
            <a:chOff x="342" y="1202"/>
            <a:chExt cx="3170" cy="2793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42" y="1202"/>
              <a:ext cx="3170" cy="279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</p:pic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342" y="1202"/>
              <a:ext cx="3170" cy="279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altLang="en-US"/>
            </a:p>
          </p:txBody>
        </p:sp>
      </p:grp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863453" y="1857375"/>
            <a:ext cx="649193" cy="30995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AT" altLang="en-US" sz="1400">
                <a:solidFill>
                  <a:srgbClr val="000000"/>
                </a:solidFill>
                <a:latin typeface="Arial" pitchFamily="34" charset="0"/>
                <a:ea typeface="Droid Sans"/>
                <a:cs typeface="Droid Sans"/>
              </a:rPr>
              <a:t>Task1</a:t>
            </a:r>
          </a:p>
        </p:txBody>
      </p:sp>
      <p:pic>
        <p:nvPicPr>
          <p:cNvPr id="13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6835" y="895350"/>
            <a:ext cx="8789855" cy="7381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2861733" y="3351214"/>
            <a:ext cx="698887" cy="30995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AT" altLang="en-US" sz="1400">
                <a:solidFill>
                  <a:srgbClr val="000000"/>
                </a:solidFill>
                <a:latin typeface="Arial" pitchFamily="34" charset="0"/>
                <a:ea typeface="Droid Sans"/>
                <a:cs typeface="Droid Sans"/>
              </a:rPr>
              <a:t>Task 2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2861733" y="4862514"/>
            <a:ext cx="698887" cy="30995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AT" altLang="en-US" sz="1400">
                <a:solidFill>
                  <a:srgbClr val="000000"/>
                </a:solidFill>
                <a:latin typeface="Arial" pitchFamily="34" charset="0"/>
                <a:ea typeface="Droid Sans"/>
                <a:cs typeface="Droid Sans"/>
              </a:rPr>
              <a:t>Task 3</a:t>
            </a:r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5210969" y="2541589"/>
            <a:ext cx="1798902" cy="757237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 flipV="1">
            <a:off x="5210969" y="3295651"/>
            <a:ext cx="1798902" cy="752475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>
            <a:off x="5210969" y="2541588"/>
            <a:ext cx="1798902" cy="2220912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>
            <a:off x="5210969" y="4044950"/>
            <a:ext cx="1798902" cy="717550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V="1">
            <a:off x="5210969" y="4759325"/>
            <a:ext cx="1798902" cy="774700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 flipV="1">
            <a:off x="5210969" y="3295650"/>
            <a:ext cx="1798902" cy="2273300"/>
          </a:xfrm>
          <a:prstGeom prst="line">
            <a:avLst/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grpSp>
        <p:nvGrpSpPr>
          <p:cNvPr id="9" name="Group 21"/>
          <p:cNvGrpSpPr>
            <a:grpSpLocks/>
          </p:cNvGrpSpPr>
          <p:nvPr/>
        </p:nvGrpSpPr>
        <p:grpSpPr bwMode="auto">
          <a:xfrm>
            <a:off x="8597239" y="3948113"/>
            <a:ext cx="933846" cy="430212"/>
            <a:chOff x="4933" y="2466"/>
            <a:chExt cx="543" cy="271"/>
          </a:xfrm>
        </p:grpSpPr>
        <p:sp>
          <p:nvSpPr>
            <p:cNvPr id="23" name="AutoShape 22"/>
            <p:cNvSpPr>
              <a:spLocks noChangeArrowheads="1"/>
            </p:cNvSpPr>
            <p:nvPr/>
          </p:nvSpPr>
          <p:spPr bwMode="auto">
            <a:xfrm>
              <a:off x="4933" y="2466"/>
              <a:ext cx="543" cy="271"/>
            </a:xfrm>
            <a:prstGeom prst="roundRect">
              <a:avLst>
                <a:gd name="adj" fmla="val 10000"/>
              </a:avLst>
            </a:prstGeom>
            <a:solidFill>
              <a:srgbClr val="1D82A4"/>
            </a:solidFill>
            <a:ln w="2556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altLang="en-US"/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4941" y="2474"/>
              <a:ext cx="527" cy="255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lIns="8280" tIns="8280" rIns="8280" bIns="8280" anchor="ctr"/>
            <a:lstStyle/>
            <a:p>
              <a:pPr algn="ctr">
                <a:lnSpc>
                  <a:spcPct val="90000"/>
                </a:lnSpc>
                <a:spcAft>
                  <a:spcPts val="563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r>
                <a:rPr lang="de-AT" altLang="en-US" sz="1300">
                  <a:solidFill>
                    <a:srgbClr val="FFFFFF"/>
                  </a:solidFill>
                  <a:ea typeface="Droid Sans"/>
                  <a:cs typeface="Droid Sans"/>
                </a:rPr>
                <a:t>Output data</a:t>
              </a:r>
            </a:p>
          </p:txBody>
        </p:sp>
      </p:grpSp>
      <p:sp>
        <p:nvSpPr>
          <p:cNvPr id="25" name="AutoShape 24"/>
          <p:cNvSpPr>
            <a:spLocks noChangeArrowheads="1"/>
          </p:cNvSpPr>
          <p:nvPr/>
        </p:nvSpPr>
        <p:spPr bwMode="auto">
          <a:xfrm>
            <a:off x="7009871" y="4514851"/>
            <a:ext cx="1224492" cy="669925"/>
          </a:xfrm>
          <a:prstGeom prst="roundRect">
            <a:avLst>
              <a:gd name="adj" fmla="val 16667"/>
            </a:avLst>
          </a:prstGeom>
          <a:solidFill>
            <a:srgbClr val="1D82A4"/>
          </a:solidFill>
          <a:ln w="38160">
            <a:solidFill>
              <a:srgbClr val="FFFFFF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AT" altLang="en-US" sz="1300">
                <a:solidFill>
                  <a:srgbClr val="FFFFFF"/>
                </a:solidFill>
                <a:ea typeface="Droid Sans"/>
                <a:cs typeface="Droid Sans"/>
              </a:rPr>
              <a:t>Aggregated Result</a:t>
            </a:r>
          </a:p>
        </p:txBody>
      </p:sp>
      <p:sp>
        <p:nvSpPr>
          <p:cNvPr id="26" name="AutoShape 25"/>
          <p:cNvSpPr>
            <a:spLocks noChangeArrowheads="1"/>
          </p:cNvSpPr>
          <p:nvPr/>
        </p:nvSpPr>
        <p:spPr bwMode="auto">
          <a:xfrm>
            <a:off x="7009871" y="3051175"/>
            <a:ext cx="1224492" cy="668338"/>
          </a:xfrm>
          <a:prstGeom prst="roundRect">
            <a:avLst>
              <a:gd name="adj" fmla="val 16667"/>
            </a:avLst>
          </a:prstGeom>
          <a:solidFill>
            <a:srgbClr val="1D82A4"/>
          </a:solidFill>
          <a:ln w="38160">
            <a:solidFill>
              <a:srgbClr val="FFFFFF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AT" altLang="en-US" sz="1300">
                <a:solidFill>
                  <a:srgbClr val="FFFFFF"/>
                </a:solidFill>
                <a:ea typeface="Droid Sans"/>
                <a:cs typeface="Droid Sans"/>
              </a:rPr>
              <a:t>Aggregated Result</a:t>
            </a:r>
          </a:p>
        </p:txBody>
      </p:sp>
      <p:sp>
        <p:nvSpPr>
          <p:cNvPr id="27" name="AutoShape 26"/>
          <p:cNvSpPr>
            <a:spLocks/>
          </p:cNvSpPr>
          <p:nvPr/>
        </p:nvSpPr>
        <p:spPr bwMode="auto">
          <a:xfrm>
            <a:off x="8249842" y="3376613"/>
            <a:ext cx="228732" cy="1573212"/>
          </a:xfrm>
          <a:prstGeom prst="rightBrace">
            <a:avLst>
              <a:gd name="adj1" fmla="val 8348"/>
              <a:gd name="adj2" fmla="val 50000"/>
            </a:avLst>
          </a:prstGeom>
          <a:noFill/>
          <a:ln w="25560">
            <a:solidFill>
              <a:srgbClr val="1D82A4"/>
            </a:solidFill>
            <a:miter lim="800000"/>
            <a:headEnd/>
            <a:tailEnd/>
          </a:ln>
          <a:effectLst>
            <a:outerShdw dist="74769" dir="938535" algn="ctr" rotWithShape="0">
              <a:srgbClr val="000000">
                <a:alpha val="38033"/>
              </a:srgbClr>
            </a:outerShdw>
          </a:effectLst>
        </p:spPr>
        <p:txBody>
          <a:bodyPr wrap="none" anchor="ctr"/>
          <a:lstStyle/>
          <a:p>
            <a:endParaRPr lang="en-GB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4238</TotalTime>
  <Words>573</Words>
  <Application>Microsoft Office PowerPoint</Application>
  <PresentationFormat>A4 Paper (210x297 mm)</PresentationFormat>
  <Paragraphs>162</Paragraphs>
  <Slides>31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5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Module outline </vt:lpstr>
      <vt:lpstr>What is Map Reduce</vt:lpstr>
      <vt:lpstr>Map Reduce(continued)</vt:lpstr>
      <vt:lpstr>Map Reduce(continued)</vt:lpstr>
      <vt:lpstr>Input Splits</vt:lpstr>
      <vt:lpstr>Relation between blocks and input splits</vt:lpstr>
      <vt:lpstr>Map Reduce Job Submission</vt:lpstr>
      <vt:lpstr>Map Reduce(continued)</vt:lpstr>
      <vt:lpstr>Map Reduce(continued) </vt:lpstr>
      <vt:lpstr>Map Reduce Functions</vt:lpstr>
      <vt:lpstr>Map Reduce in Hadoop-1</vt:lpstr>
      <vt:lpstr>Map Reduce in Hadoop-2</vt:lpstr>
      <vt:lpstr>Map Reduce in Hadoop-3</vt:lpstr>
      <vt:lpstr>Word Count Execution</vt:lpstr>
      <vt:lpstr>Word Count Execution</vt:lpstr>
      <vt:lpstr>An Optimization: The Combiner </vt:lpstr>
      <vt:lpstr> Word Count with Combiner  </vt:lpstr>
      <vt:lpstr>  Components in a Hadoop MR Workflow    </vt:lpstr>
      <vt:lpstr>   Job Submission     </vt:lpstr>
      <vt:lpstr>    Scheduling       </vt:lpstr>
      <vt:lpstr>    Execution       </vt:lpstr>
      <vt:lpstr>     Reduce Tasks         </vt:lpstr>
      <vt:lpstr>    Execution       </vt:lpstr>
      <vt:lpstr>Quiz</vt:lpstr>
      <vt:lpstr>Quiz-Answers</vt:lpstr>
      <vt:lpstr>Quiz</vt:lpstr>
      <vt:lpstr>Quiz-Answers</vt:lpstr>
      <vt:lpstr>Slide 29</vt:lpstr>
      <vt:lpstr>Slide 30</vt:lpstr>
      <vt:lpstr>Slide 3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vijoshi</cp:lastModifiedBy>
  <cp:revision>332</cp:revision>
  <dcterms:created xsi:type="dcterms:W3CDTF">2015-07-09T08:35:18Z</dcterms:created>
  <dcterms:modified xsi:type="dcterms:W3CDTF">2016-05-18T10:57:20Z</dcterms:modified>
</cp:coreProperties>
</file>